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5"/>
  </p:notesMasterIdLst>
  <p:handoutMasterIdLst>
    <p:handoutMasterId r:id="rId16"/>
  </p:handoutMasterIdLst>
  <p:sldIdLst>
    <p:sldId id="257" r:id="rId2"/>
    <p:sldId id="268" r:id="rId3"/>
    <p:sldId id="269" r:id="rId4"/>
    <p:sldId id="258" r:id="rId5"/>
    <p:sldId id="270" r:id="rId6"/>
    <p:sldId id="261" r:id="rId7"/>
    <p:sldId id="267" r:id="rId8"/>
    <p:sldId id="262" r:id="rId9"/>
    <p:sldId id="263" r:id="rId10"/>
    <p:sldId id="264" r:id="rId11"/>
    <p:sldId id="265" r:id="rId12"/>
    <p:sldId id="266" r:id="rId13"/>
    <p:sldId id="260" r:id="rId14"/>
  </p:sldIdLst>
  <p:sldSz cx="9147175" cy="5145088"/>
  <p:notesSz cx="6797675" cy="9926638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DBB00"/>
    <a:srgbClr val="8E7D6F"/>
    <a:srgbClr val="E6E6E6"/>
    <a:srgbClr val="EDEDED"/>
    <a:srgbClr val="00B3E1"/>
    <a:srgbClr val="6B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33" autoAdjust="0"/>
    <p:restoredTop sz="89798" autoAdjust="0"/>
  </p:normalViewPr>
  <p:slideViewPr>
    <p:cSldViewPr snapToGrid="0">
      <p:cViewPr varScale="1">
        <p:scale>
          <a:sx n="181" d="100"/>
          <a:sy n="181" d="100"/>
        </p:scale>
        <p:origin x="1200" y="184"/>
      </p:cViewPr>
      <p:guideLst/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3234" y="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D8B9E88-11D9-4CF2-9006-FB7E61EB12D3}" type="datetimeFigureOut">
              <a:rPr lang="de-CH" smtClean="0"/>
              <a:t>06.01.21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2654C08F-5C88-4081-B486-8E61B3DA56B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80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6FCBF76-4842-428B-B9BC-895BFCC1E707}" type="datetimeFigureOut">
              <a:rPr lang="de-CH" smtClean="0"/>
              <a:t>06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8563647-1664-4460-855C-29C43A08678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500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0713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5726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915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474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222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175" cy="5145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Rechteck 6"/>
          <p:cNvSpPr/>
          <p:nvPr userDrawn="1"/>
        </p:nvSpPr>
        <p:spPr>
          <a:xfrm>
            <a:off x="-1" y="4337050"/>
            <a:ext cx="9147175" cy="808037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66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3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326721" y="-5454"/>
            <a:ext cx="4905859" cy="253348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5177071"/>
              <a:gd name="connsiteY0" fmla="*/ 1613317 h 1615889"/>
              <a:gd name="connsiteX1" fmla="*/ 1092467 w 5177071"/>
              <a:gd name="connsiteY1" fmla="*/ 6150 h 1615889"/>
              <a:gd name="connsiteX2" fmla="*/ 4753098 w 5177071"/>
              <a:gd name="connsiteY2" fmla="*/ 0 h 1615889"/>
              <a:gd name="connsiteX3" fmla="*/ 5073914 w 5177071"/>
              <a:gd name="connsiteY3" fmla="*/ 1615889 h 1615889"/>
              <a:gd name="connsiteX4" fmla="*/ 0 w 5177071"/>
              <a:gd name="connsiteY4" fmla="*/ 1613317 h 1615889"/>
              <a:gd name="connsiteX0" fmla="*/ 0 w 5209131"/>
              <a:gd name="connsiteY0" fmla="*/ 1607265 h 1609837"/>
              <a:gd name="connsiteX1" fmla="*/ 1092467 w 5209131"/>
              <a:gd name="connsiteY1" fmla="*/ 98 h 1609837"/>
              <a:gd name="connsiteX2" fmla="*/ 5083757 w 5209131"/>
              <a:gd name="connsiteY2" fmla="*/ 0 h 1609837"/>
              <a:gd name="connsiteX3" fmla="*/ 5073914 w 5209131"/>
              <a:gd name="connsiteY3" fmla="*/ 1609837 h 1609837"/>
              <a:gd name="connsiteX4" fmla="*/ 0 w 5209131"/>
              <a:gd name="connsiteY4" fmla="*/ 1607265 h 1609837"/>
              <a:gd name="connsiteX0" fmla="*/ 0 w 5217936"/>
              <a:gd name="connsiteY0" fmla="*/ 1610291 h 1612863"/>
              <a:gd name="connsiteX1" fmla="*/ 1092467 w 5217936"/>
              <a:gd name="connsiteY1" fmla="*/ 3124 h 1612863"/>
              <a:gd name="connsiteX2" fmla="*/ 5147916 w 5217936"/>
              <a:gd name="connsiteY2" fmla="*/ 0 h 1612863"/>
              <a:gd name="connsiteX3" fmla="*/ 5073914 w 5217936"/>
              <a:gd name="connsiteY3" fmla="*/ 1612863 h 1612863"/>
              <a:gd name="connsiteX4" fmla="*/ 0 w 5217936"/>
              <a:gd name="connsiteY4" fmla="*/ 1610291 h 1612863"/>
              <a:gd name="connsiteX0" fmla="*/ 0 w 5217937"/>
              <a:gd name="connsiteY0" fmla="*/ 1610291 h 1612863"/>
              <a:gd name="connsiteX1" fmla="*/ 1092467 w 5217937"/>
              <a:gd name="connsiteY1" fmla="*/ 3124 h 1612863"/>
              <a:gd name="connsiteX2" fmla="*/ 5147916 w 5217937"/>
              <a:gd name="connsiteY2" fmla="*/ 0 h 1612863"/>
              <a:gd name="connsiteX3" fmla="*/ 5073914 w 5217937"/>
              <a:gd name="connsiteY3" fmla="*/ 1612863 h 1612863"/>
              <a:gd name="connsiteX4" fmla="*/ 0 w 5217937"/>
              <a:gd name="connsiteY4" fmla="*/ 1610291 h 1612863"/>
              <a:gd name="connsiteX0" fmla="*/ 0 w 5272857"/>
              <a:gd name="connsiteY0" fmla="*/ 1610291 h 1612863"/>
              <a:gd name="connsiteX1" fmla="*/ 1092467 w 5272857"/>
              <a:gd name="connsiteY1" fmla="*/ 3124 h 1612863"/>
              <a:gd name="connsiteX2" fmla="*/ 5147916 w 5272857"/>
              <a:gd name="connsiteY2" fmla="*/ 0 h 1612863"/>
              <a:gd name="connsiteX3" fmla="*/ 5073914 w 5272857"/>
              <a:gd name="connsiteY3" fmla="*/ 1612863 h 1612863"/>
              <a:gd name="connsiteX4" fmla="*/ 0 w 5272857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73914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083759"/>
              <a:gd name="connsiteY0" fmla="*/ 1607167 h 1609739"/>
              <a:gd name="connsiteX1" fmla="*/ 1092467 w 5083759"/>
              <a:gd name="connsiteY1" fmla="*/ 0 h 1609739"/>
              <a:gd name="connsiteX2" fmla="*/ 5083759 w 5083759"/>
              <a:gd name="connsiteY2" fmla="*/ 2928 h 1609739"/>
              <a:gd name="connsiteX3" fmla="*/ 5039367 w 5083759"/>
              <a:gd name="connsiteY3" fmla="*/ 1609739 h 1609739"/>
              <a:gd name="connsiteX4" fmla="*/ 0 w 5083759"/>
              <a:gd name="connsiteY4" fmla="*/ 1607167 h 160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3759" h="1609739">
                <a:moveTo>
                  <a:pt x="0" y="1607167"/>
                </a:moveTo>
                <a:lnTo>
                  <a:pt x="1092467" y="0"/>
                </a:lnTo>
                <a:lnTo>
                  <a:pt x="5083759" y="2928"/>
                </a:lnTo>
                <a:cubicBezTo>
                  <a:pt x="5050020" y="583418"/>
                  <a:pt x="5058283" y="998257"/>
                  <a:pt x="5039367" y="1609739"/>
                </a:cubicBezTo>
                <a:lnTo>
                  <a:pt x="0" y="160716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94073" y="2570015"/>
            <a:ext cx="6016601" cy="260219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7405415"/>
              <a:gd name="connsiteY0" fmla="*/ 1533963 h 1542526"/>
              <a:gd name="connsiteX1" fmla="*/ 1340428 w 7405415"/>
              <a:gd name="connsiteY1" fmla="*/ 207 h 1542526"/>
              <a:gd name="connsiteX2" fmla="*/ 7405415 w 7405415"/>
              <a:gd name="connsiteY2" fmla="*/ 0 h 1542526"/>
              <a:gd name="connsiteX3" fmla="*/ 2705711 w 7405415"/>
              <a:gd name="connsiteY3" fmla="*/ 1542526 h 1542526"/>
              <a:gd name="connsiteX4" fmla="*/ 0 w 7405415"/>
              <a:gd name="connsiteY4" fmla="*/ 1533963 h 1542526"/>
              <a:gd name="connsiteX0" fmla="*/ 0 w 7341541"/>
              <a:gd name="connsiteY0" fmla="*/ 1533963 h 1542526"/>
              <a:gd name="connsiteX1" fmla="*/ 1340428 w 7341541"/>
              <a:gd name="connsiteY1" fmla="*/ 207 h 1542526"/>
              <a:gd name="connsiteX2" fmla="*/ 7341541 w 7341541"/>
              <a:gd name="connsiteY2" fmla="*/ 0 h 1542526"/>
              <a:gd name="connsiteX3" fmla="*/ 2705711 w 7341541"/>
              <a:gd name="connsiteY3" fmla="*/ 1542526 h 1542526"/>
              <a:gd name="connsiteX4" fmla="*/ 0 w 7341541"/>
              <a:gd name="connsiteY4" fmla="*/ 1533963 h 1542526"/>
              <a:gd name="connsiteX0" fmla="*/ 0 w 7515256"/>
              <a:gd name="connsiteY0" fmla="*/ 1533963 h 1534104"/>
              <a:gd name="connsiteX1" fmla="*/ 1340428 w 7515256"/>
              <a:gd name="connsiteY1" fmla="*/ 207 h 1534104"/>
              <a:gd name="connsiteX2" fmla="*/ 7341541 w 7515256"/>
              <a:gd name="connsiteY2" fmla="*/ 0 h 1534104"/>
              <a:gd name="connsiteX3" fmla="*/ 7316210 w 7515256"/>
              <a:gd name="connsiteY3" fmla="*/ 1534104 h 1534104"/>
              <a:gd name="connsiteX4" fmla="*/ 0 w 7515256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35" h="1533897">
                <a:moveTo>
                  <a:pt x="0" y="1533756"/>
                </a:moveTo>
                <a:lnTo>
                  <a:pt x="1352041" y="0"/>
                </a:lnTo>
                <a:lnTo>
                  <a:pt x="7335735" y="2600"/>
                </a:lnTo>
                <a:cubicBezTo>
                  <a:pt x="7329652" y="557353"/>
                  <a:pt x="7332496" y="837180"/>
                  <a:pt x="7327823" y="1533897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62555" y="1290825"/>
            <a:ext cx="4861229" cy="3908518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  <a:gd name="connsiteX0" fmla="*/ 20 w 4860385"/>
              <a:gd name="connsiteY0" fmla="*/ 3908518 h 3908518"/>
              <a:gd name="connsiteX1" fmla="*/ 443749 w 4860385"/>
              <a:gd name="connsiteY1" fmla="*/ 5976 h 3908518"/>
              <a:gd name="connsiteX2" fmla="*/ 4860385 w 4860385"/>
              <a:gd name="connsiteY2" fmla="*/ 0 h 3908518"/>
              <a:gd name="connsiteX3" fmla="*/ 3208483 w 4860385"/>
              <a:gd name="connsiteY3" fmla="*/ 3897027 h 3908518"/>
              <a:gd name="connsiteX4" fmla="*/ 20 w 4860385"/>
              <a:gd name="connsiteY4" fmla="*/ 3908518 h 3908518"/>
              <a:gd name="connsiteX0" fmla="*/ 864 w 4861229"/>
              <a:gd name="connsiteY0" fmla="*/ 3908518 h 3908518"/>
              <a:gd name="connsiteX1" fmla="*/ 2334 w 4861229"/>
              <a:gd name="connsiteY1" fmla="*/ 5976 h 3908518"/>
              <a:gd name="connsiteX2" fmla="*/ 4861229 w 4861229"/>
              <a:gd name="connsiteY2" fmla="*/ 0 h 3908518"/>
              <a:gd name="connsiteX3" fmla="*/ 3209327 w 4861229"/>
              <a:gd name="connsiteY3" fmla="*/ 3897027 h 3908518"/>
              <a:gd name="connsiteX4" fmla="*/ 864 w 4861229"/>
              <a:gd name="connsiteY4" fmla="*/ 3908518 h 39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61229" h="3908518">
                <a:moveTo>
                  <a:pt x="864" y="3908518"/>
                </a:moveTo>
                <a:cubicBezTo>
                  <a:pt x="-2630" y="2619624"/>
                  <a:pt x="5828" y="1294870"/>
                  <a:pt x="2334" y="5976"/>
                </a:cubicBezTo>
                <a:lnTo>
                  <a:pt x="4861229" y="0"/>
                </a:lnTo>
                <a:lnTo>
                  <a:pt x="3209327" y="3897027"/>
                </a:lnTo>
                <a:lnTo>
                  <a:pt x="864" y="39085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200576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03229" y="1422400"/>
            <a:ext cx="38988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3913098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59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0">
          <p15:clr>
            <a:srgbClr val="FBAE40"/>
          </p15:clr>
        </p15:guide>
        <p15:guide id="2" pos="2810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16949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85838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5926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9">
          <p15:clr>
            <a:srgbClr val="FBAE40"/>
          </p15:clr>
        </p15:guide>
        <p15:guide id="2" pos="2087">
          <p15:clr>
            <a:srgbClr val="FBAE40"/>
          </p15:clr>
        </p15:guide>
        <p15:guide id="3" pos="3675">
          <p15:clr>
            <a:srgbClr val="FBAE40"/>
          </p15:clr>
        </p15:guide>
        <p15:guide id="4" pos="3827">
          <p15:clr>
            <a:srgbClr val="FBAE40"/>
          </p15:clr>
        </p15:guide>
        <p15:guide id="5" orient="horz" pos="8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4-spal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45866" y="1422400"/>
            <a:ext cx="8057777" cy="317817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4350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1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3714750"/>
            <a:ext cx="8057777" cy="101118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38113" y="4169729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7638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2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5866" y="3980422"/>
            <a:ext cx="8057777" cy="744818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640226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76538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 flipH="1">
            <a:off x="1452879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2801721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511917" y="1422400"/>
            <a:ext cx="5093922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197225" y="2113627"/>
            <a:ext cx="54086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879725" y="2806441"/>
            <a:ext cx="57261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555875" y="3499255"/>
            <a:ext cx="604996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2201863" y="4192068"/>
            <a:ext cx="64039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00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ing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9000" y="474380"/>
            <a:ext cx="390683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54934" y="1422400"/>
            <a:ext cx="4250904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062413" y="2116461"/>
            <a:ext cx="454342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726025" y="2808362"/>
            <a:ext cx="4879814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408363" y="3500263"/>
            <a:ext cx="51974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09900" y="4192166"/>
            <a:ext cx="5595938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10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2627313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8"/>
          </p:nvPr>
        </p:nvSpPr>
        <p:spPr>
          <a:xfrm>
            <a:off x="4713288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9"/>
          </p:nvPr>
        </p:nvSpPr>
        <p:spPr>
          <a:xfrm>
            <a:off x="6799580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7314" y="4392275"/>
            <a:ext cx="8064500" cy="234009"/>
          </a:xfrm>
        </p:spPr>
        <p:txBody>
          <a:bodyPr anchor="b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45866" y="2526233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26273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13438" y="2526234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7994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162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1575">
          <p15:clr>
            <a:srgbClr val="FBAE40"/>
          </p15:clr>
        </p15:guide>
        <p15:guide id="3" orient="horz" pos="2754">
          <p15:clr>
            <a:srgbClr val="FBAE40"/>
          </p15:clr>
        </p15:guide>
        <p15:guide id="4" pos="2972">
          <p15:clr>
            <a:srgbClr val="FBAE40"/>
          </p15:clr>
        </p15:guide>
        <p15:guide id="5" pos="4287">
          <p15:clr>
            <a:srgbClr val="FBAE40"/>
          </p15:clr>
        </p15:guide>
        <p15:guide id="6" pos="1656">
          <p15:clr>
            <a:srgbClr val="FBAE40"/>
          </p15:clr>
        </p15:guide>
        <p15:guide id="7" pos="2790">
          <p15:clr>
            <a:srgbClr val="FBAE40"/>
          </p15:clr>
        </p15:guide>
        <p15:guide id="8" pos="4106">
          <p15:clr>
            <a:srgbClr val="FBAE40"/>
          </p15:clr>
        </p15:guide>
        <p15:guide id="9" pos="1475">
          <p15:clr>
            <a:srgbClr val="FBAE40"/>
          </p15:clr>
        </p15:guide>
        <p15:guide id="10" orient="horz" pos="24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62890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71805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805613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545866" y="3005138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/>
          </p:nvPr>
        </p:nvSpPr>
        <p:spPr>
          <a:xfrm>
            <a:off x="262890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471805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9"/>
          </p:nvPr>
        </p:nvSpPr>
        <p:spPr>
          <a:xfrm>
            <a:off x="545866" y="220545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0"/>
          </p:nvPr>
        </p:nvSpPr>
        <p:spPr>
          <a:xfrm>
            <a:off x="262890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471805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2"/>
          </p:nvPr>
        </p:nvSpPr>
        <p:spPr>
          <a:xfrm>
            <a:off x="6805613" y="2205456"/>
            <a:ext cx="1800225" cy="64651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>
          <a:xfrm>
            <a:off x="545866" y="380281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24"/>
          </p:nvPr>
        </p:nvSpPr>
        <p:spPr>
          <a:xfrm>
            <a:off x="2628900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5"/>
          </p:nvPr>
        </p:nvSpPr>
        <p:spPr>
          <a:xfrm>
            <a:off x="4724228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21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893">
          <p15:clr>
            <a:srgbClr val="FBAE40"/>
          </p15:clr>
        </p15:guide>
        <p15:guide id="10" orient="horz" pos="2392">
          <p15:clr>
            <a:srgbClr val="FBAE40"/>
          </p15:clr>
        </p15:guide>
        <p15:guide id="11" orient="horz" pos="1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Zahlen und Fak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9FF52A-9417-B348-A7BA-C932EC279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1909" y="-13448"/>
            <a:ext cx="8082372" cy="5158535"/>
          </a:xfrm>
          <a:prstGeom prst="parallelogram">
            <a:avLst>
              <a:gd name="adj" fmla="val 42388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33388" y="651742"/>
            <a:ext cx="3103188" cy="394724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170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">
          <p15:clr>
            <a:srgbClr val="FBAE40"/>
          </p15:clr>
        </p15:guide>
        <p15:guide id="2" orient="horz" pos="46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x Bild+Text (Icon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9361" y="472894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5866" y="533908"/>
            <a:ext cx="8064500" cy="151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805613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545866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/>
          </p:nvPr>
        </p:nvSpPr>
        <p:spPr>
          <a:xfrm>
            <a:off x="2628900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8"/>
          </p:nvPr>
        </p:nvSpPr>
        <p:spPr>
          <a:xfrm>
            <a:off x="4724874" y="220545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20"/>
          </p:nvPr>
        </p:nvSpPr>
        <p:spPr>
          <a:xfrm>
            <a:off x="545866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628900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6"/>
          </p:nvPr>
        </p:nvSpPr>
        <p:spPr>
          <a:xfrm>
            <a:off x="4724874" y="380311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2" name="Inhaltsplatzhalter 61"/>
          <p:cNvSpPr>
            <a:spLocks noGrp="1"/>
          </p:cNvSpPr>
          <p:nvPr>
            <p:ph sz="quarter" idx="27"/>
          </p:nvPr>
        </p:nvSpPr>
        <p:spPr>
          <a:xfrm>
            <a:off x="6805613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4" name="Inhaltsplatzhalter 63"/>
          <p:cNvSpPr>
            <a:spLocks noGrp="1"/>
          </p:cNvSpPr>
          <p:nvPr>
            <p:ph sz="quarter" idx="28"/>
          </p:nvPr>
        </p:nvSpPr>
        <p:spPr>
          <a:xfrm>
            <a:off x="4718050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6" name="Inhaltsplatzhalter 65"/>
          <p:cNvSpPr>
            <a:spLocks noGrp="1"/>
          </p:cNvSpPr>
          <p:nvPr>
            <p:ph sz="quarter" idx="29"/>
          </p:nvPr>
        </p:nvSpPr>
        <p:spPr>
          <a:xfrm>
            <a:off x="2628900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8" name="Inhaltsplatzhalter 67"/>
          <p:cNvSpPr>
            <a:spLocks noGrp="1"/>
          </p:cNvSpPr>
          <p:nvPr>
            <p:ph sz="quarter" idx="30"/>
          </p:nvPr>
        </p:nvSpPr>
        <p:spPr>
          <a:xfrm>
            <a:off x="545866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1"/>
          </p:nvPr>
        </p:nvSpPr>
        <p:spPr>
          <a:xfrm>
            <a:off x="6805613" y="3803396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2" name="Inhaltsplatzhalter 71"/>
          <p:cNvSpPr>
            <a:spLocks noGrp="1"/>
          </p:cNvSpPr>
          <p:nvPr>
            <p:ph sz="quarter" idx="32"/>
          </p:nvPr>
        </p:nvSpPr>
        <p:spPr>
          <a:xfrm>
            <a:off x="545866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4" name="Inhaltsplatzhalter 73"/>
          <p:cNvSpPr>
            <a:spLocks noGrp="1"/>
          </p:cNvSpPr>
          <p:nvPr>
            <p:ph sz="quarter" idx="33"/>
          </p:nvPr>
        </p:nvSpPr>
        <p:spPr>
          <a:xfrm>
            <a:off x="2628900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6" name="Inhaltsplatzhalter 75"/>
          <p:cNvSpPr>
            <a:spLocks noGrp="1"/>
          </p:cNvSpPr>
          <p:nvPr>
            <p:ph sz="quarter" idx="34"/>
          </p:nvPr>
        </p:nvSpPr>
        <p:spPr>
          <a:xfrm>
            <a:off x="4724400" y="1422400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8" name="Inhaltsplatzhalter 77"/>
          <p:cNvSpPr>
            <a:spLocks noGrp="1"/>
          </p:cNvSpPr>
          <p:nvPr>
            <p:ph sz="quarter" idx="35"/>
          </p:nvPr>
        </p:nvSpPr>
        <p:spPr>
          <a:xfrm>
            <a:off x="6805613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8064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388">
          <p15:clr>
            <a:srgbClr val="FBAE40"/>
          </p15:clr>
        </p15:guide>
        <p15:guide id="10" orient="horz" pos="1893">
          <p15:clr>
            <a:srgbClr val="FBAE40"/>
          </p15:clr>
        </p15:guide>
        <p15:guide id="11" orient="horz" pos="2392">
          <p15:clr>
            <a:srgbClr val="FBAE40"/>
          </p15:clr>
        </p15:guide>
        <p15:guide id="12" orient="horz" pos="2301">
          <p15:clr>
            <a:srgbClr val="FBAE40"/>
          </p15:clr>
        </p15:guide>
        <p15:guide id="13" orient="horz" pos="13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2520000" cy="118646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3643141" y="1422400"/>
            <a:ext cx="2520000" cy="118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45866" y="4378152"/>
            <a:ext cx="8064500" cy="23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545866" y="2732517"/>
            <a:ext cx="2520000" cy="13843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643141" y="2732517"/>
            <a:ext cx="2520000" cy="137795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850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2754">
          <p15:clr>
            <a:srgbClr val="FBAE40"/>
          </p15:clr>
        </p15:guide>
        <p15:guide id="3" pos="1928">
          <p15:clr>
            <a:srgbClr val="FBAE40"/>
          </p15:clr>
        </p15:guide>
        <p15:guide id="4" orient="horz" pos="1720">
          <p15:clr>
            <a:srgbClr val="FBAE40"/>
          </p15:clr>
        </p15:guide>
        <p15:guide id="5" pos="2291">
          <p15:clr>
            <a:srgbClr val="FBAE40"/>
          </p15:clr>
        </p15:guide>
        <p15:guide id="6" pos="3888">
          <p15:clr>
            <a:srgbClr val="FBAE40"/>
          </p15:clr>
        </p15:guide>
        <p15:guide id="7" orient="horz" pos="25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und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02347" y="1403497"/>
            <a:ext cx="3898800" cy="99493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3900487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4702175" y="2514600"/>
            <a:ext cx="3903663" cy="20843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198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798">
          <p15:clr>
            <a:srgbClr val="FBAE40"/>
          </p15:clr>
        </p15:guide>
        <p15:guide id="3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ebots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07038" y="1422400"/>
            <a:ext cx="3898800" cy="31781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07038" y="474380"/>
            <a:ext cx="389880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68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707038" y="1422400"/>
            <a:ext cx="38988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45866" y="2666428"/>
            <a:ext cx="2736000" cy="1932559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86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2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45866" y="2666426"/>
            <a:ext cx="2736000" cy="19258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29013" y="1422400"/>
            <a:ext cx="5076825" cy="31718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8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3">
          <p15:clr>
            <a:srgbClr val="FBAE40"/>
          </p15:clr>
        </p15:guide>
        <p15:guide id="2" orient="horz" pos="895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Per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7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orient="horz" pos="1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dress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290716" y="1642882"/>
            <a:ext cx="1800000" cy="295610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329238" y="1642882"/>
            <a:ext cx="1800000" cy="295605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23768" y="90822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6" name="Gerader Verbinder 15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74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3210">
          <p15:clr>
            <a:srgbClr val="FBAE40"/>
          </p15:clr>
        </p15:guide>
        <p15:guide id="4" pos="3357">
          <p15:clr>
            <a:srgbClr val="FBAE40"/>
          </p15:clr>
        </p15:guide>
        <p15:guide id="5" orient="horz" pos="10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nderlogos-Übersicht Prä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m 3"/>
          <p:cNvSpPr/>
          <p:nvPr userDrawn="1"/>
        </p:nvSpPr>
        <p:spPr>
          <a:xfrm>
            <a:off x="2768719" y="-7947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Parallelogramm 3"/>
          <p:cNvSpPr/>
          <p:nvPr userDrawn="1"/>
        </p:nvSpPr>
        <p:spPr>
          <a:xfrm>
            <a:off x="4415964" y="-7948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" name="Parallelogramm 3"/>
          <p:cNvSpPr/>
          <p:nvPr userDrawn="1"/>
        </p:nvSpPr>
        <p:spPr>
          <a:xfrm>
            <a:off x="6063209" y="-7949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7" name="Parallelogramm 3"/>
          <p:cNvSpPr/>
          <p:nvPr userDrawn="1"/>
        </p:nvSpPr>
        <p:spPr>
          <a:xfrm>
            <a:off x="1121474" y="-7950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Parallelogramm 3"/>
          <p:cNvSpPr/>
          <p:nvPr userDrawn="1"/>
        </p:nvSpPr>
        <p:spPr>
          <a:xfrm>
            <a:off x="-525771" y="-7953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04424" y="2297926"/>
            <a:ext cx="1139452" cy="438832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3473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536511"/>
            <a:ext cx="8064500" cy="1508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9361" y="479718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45866" y="895350"/>
            <a:ext cx="8064000" cy="370363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079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5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Tar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897296" y="1225576"/>
            <a:ext cx="569118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cxnSp>
        <p:nvCxnSpPr>
          <p:cNvPr id="7" name="Gerader Verbinder 6"/>
          <p:cNvCxnSpPr/>
          <p:nvPr userDrawn="1"/>
        </p:nvCxnSpPr>
        <p:spPr>
          <a:xfrm flipH="1">
            <a:off x="873457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53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8">
          <p15:clr>
            <a:srgbClr val="FBAE40"/>
          </p15:clr>
        </p15:guide>
        <p15:guide id="2" orient="horz" pos="8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1CC74-7277-408E-A1B6-10536502E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8E39A6-4146-45B5-935E-BF4F490A18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061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-6310" y="-17928"/>
            <a:ext cx="6494974" cy="5180947"/>
          </a:xfrm>
          <a:custGeom>
            <a:avLst/>
            <a:gdLst>
              <a:gd name="connsiteX0" fmla="*/ 0 w 6482687"/>
              <a:gd name="connsiteY0" fmla="*/ 5145089 h 5145089"/>
              <a:gd name="connsiteX1" fmla="*/ 1286272 w 6482687"/>
              <a:gd name="connsiteY1" fmla="*/ 0 h 5145089"/>
              <a:gd name="connsiteX2" fmla="*/ 6482687 w 6482687"/>
              <a:gd name="connsiteY2" fmla="*/ 0 h 5145089"/>
              <a:gd name="connsiteX3" fmla="*/ 5196415 w 6482687"/>
              <a:gd name="connsiteY3" fmla="*/ 5145089 h 5145089"/>
              <a:gd name="connsiteX4" fmla="*/ 0 w 6482687"/>
              <a:gd name="connsiteY4" fmla="*/ 5145089 h 5145089"/>
              <a:gd name="connsiteX0" fmla="*/ 0 w 6482687"/>
              <a:gd name="connsiteY0" fmla="*/ 5145089 h 5163018"/>
              <a:gd name="connsiteX1" fmla="*/ 1286272 w 6482687"/>
              <a:gd name="connsiteY1" fmla="*/ 0 h 5163018"/>
              <a:gd name="connsiteX2" fmla="*/ 6482687 w 6482687"/>
              <a:gd name="connsiteY2" fmla="*/ 0 h 5163018"/>
              <a:gd name="connsiteX3" fmla="*/ 4299945 w 6482687"/>
              <a:gd name="connsiteY3" fmla="*/ 5163018 h 5163018"/>
              <a:gd name="connsiteX4" fmla="*/ 0 w 6482687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6255 w 6488997"/>
              <a:gd name="connsiteY3" fmla="*/ 5163018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94974"/>
              <a:gd name="connsiteY0" fmla="*/ 5180947 h 5180947"/>
              <a:gd name="connsiteX1" fmla="*/ 1665 w 6494974"/>
              <a:gd name="connsiteY1" fmla="*/ 11952 h 5180947"/>
              <a:gd name="connsiteX2" fmla="*/ 6494974 w 6494974"/>
              <a:gd name="connsiteY2" fmla="*/ 0 h 5180947"/>
              <a:gd name="connsiteX3" fmla="*/ 4300279 w 6494974"/>
              <a:gd name="connsiteY3" fmla="*/ 5180947 h 5180947"/>
              <a:gd name="connsiteX4" fmla="*/ 333 w 6494974"/>
              <a:gd name="connsiteY4" fmla="*/ 5180947 h 5180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974" h="5180947">
                <a:moveTo>
                  <a:pt x="333" y="5180947"/>
                </a:moveTo>
                <a:cubicBezTo>
                  <a:pt x="-1215" y="3467909"/>
                  <a:pt x="3213" y="1724990"/>
                  <a:pt x="1665" y="11952"/>
                </a:cubicBezTo>
                <a:lnTo>
                  <a:pt x="6494974" y="0"/>
                </a:lnTo>
                <a:lnTo>
                  <a:pt x="4300279" y="5180947"/>
                </a:lnTo>
                <a:lnTo>
                  <a:pt x="333" y="518094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5812" y="2434664"/>
            <a:ext cx="296405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635812" y="3221050"/>
            <a:ext cx="2964049" cy="13779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061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6">
          <p15:clr>
            <a:srgbClr val="FBAE40"/>
          </p15:clr>
        </p15:guide>
        <p15:guide id="2" orient="horz" pos="15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45866" y="1422400"/>
            <a:ext cx="50927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5868988" y="1422400"/>
            <a:ext cx="273685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2182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9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3516313" y="1422400"/>
            <a:ext cx="5089525" cy="317976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2736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610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1">
          <p15:clr>
            <a:srgbClr val="FBAE40"/>
          </p15:clr>
        </p15:guide>
        <p15:guide id="2" pos="2215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2886501" y="0"/>
            <a:ext cx="6264115" cy="5151912"/>
          </a:xfrm>
          <a:custGeom>
            <a:avLst/>
            <a:gdLst>
              <a:gd name="connsiteX0" fmla="*/ 0 w 6260674"/>
              <a:gd name="connsiteY0" fmla="*/ 5145088 h 5145088"/>
              <a:gd name="connsiteX1" fmla="*/ 1286272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0674"/>
              <a:gd name="connsiteY0" fmla="*/ 5145088 h 5145088"/>
              <a:gd name="connsiteX1" fmla="*/ 2180200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4115"/>
              <a:gd name="connsiteY0" fmla="*/ 5145088 h 5151912"/>
              <a:gd name="connsiteX1" fmla="*/ 2180200 w 6264115"/>
              <a:gd name="connsiteY1" fmla="*/ 0 h 5151912"/>
              <a:gd name="connsiteX2" fmla="*/ 6260674 w 6264115"/>
              <a:gd name="connsiteY2" fmla="*/ 0 h 5151912"/>
              <a:gd name="connsiteX3" fmla="*/ 6264115 w 6264115"/>
              <a:gd name="connsiteY3" fmla="*/ 5151912 h 5151912"/>
              <a:gd name="connsiteX4" fmla="*/ 0 w 6264115"/>
              <a:gd name="connsiteY4" fmla="*/ 5145088 h 515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4115" h="5151912">
                <a:moveTo>
                  <a:pt x="0" y="5145088"/>
                </a:moveTo>
                <a:lnTo>
                  <a:pt x="2180200" y="0"/>
                </a:lnTo>
                <a:lnTo>
                  <a:pt x="6260674" y="0"/>
                </a:lnTo>
                <a:lnTo>
                  <a:pt x="6264115" y="5151912"/>
                </a:lnTo>
                <a:lnTo>
                  <a:pt x="0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652712" cy="317741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93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5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8"/>
          </p:nvPr>
        </p:nvSpPr>
        <p:spPr>
          <a:xfrm>
            <a:off x="4136643" y="-36438"/>
            <a:ext cx="5055406" cy="199820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994072 h 1994072"/>
              <a:gd name="connsiteX1" fmla="*/ 842568 w 4105148"/>
              <a:gd name="connsiteY1" fmla="*/ 0 h 1994072"/>
              <a:gd name="connsiteX2" fmla="*/ 4105148 w 4105148"/>
              <a:gd name="connsiteY2" fmla="*/ 382494 h 1994072"/>
              <a:gd name="connsiteX3" fmla="*/ 3426473 w 4105148"/>
              <a:gd name="connsiteY3" fmla="*/ 1992233 h 1994072"/>
              <a:gd name="connsiteX4" fmla="*/ 0 w 4105148"/>
              <a:gd name="connsiteY4" fmla="*/ 1994072 h 1994072"/>
              <a:gd name="connsiteX0" fmla="*/ 0 w 5031501"/>
              <a:gd name="connsiteY0" fmla="*/ 2000048 h 2000048"/>
              <a:gd name="connsiteX1" fmla="*/ 842568 w 5031501"/>
              <a:gd name="connsiteY1" fmla="*/ 5976 h 2000048"/>
              <a:gd name="connsiteX2" fmla="*/ 5031501 w 5031501"/>
              <a:gd name="connsiteY2" fmla="*/ 0 h 2000048"/>
              <a:gd name="connsiteX3" fmla="*/ 3426473 w 5031501"/>
              <a:gd name="connsiteY3" fmla="*/ 1998209 h 2000048"/>
              <a:gd name="connsiteX4" fmla="*/ 0 w 5031501"/>
              <a:gd name="connsiteY4" fmla="*/ 2000048 h 2000048"/>
              <a:gd name="connsiteX0" fmla="*/ 0 w 5115859"/>
              <a:gd name="connsiteY0" fmla="*/ 2000048 h 2004185"/>
              <a:gd name="connsiteX1" fmla="*/ 842568 w 5115859"/>
              <a:gd name="connsiteY1" fmla="*/ 5976 h 2004185"/>
              <a:gd name="connsiteX2" fmla="*/ 5031501 w 5115859"/>
              <a:gd name="connsiteY2" fmla="*/ 0 h 2004185"/>
              <a:gd name="connsiteX3" fmla="*/ 5052073 w 5115859"/>
              <a:gd name="connsiteY3" fmla="*/ 2004185 h 2004185"/>
              <a:gd name="connsiteX4" fmla="*/ 0 w 5115859"/>
              <a:gd name="connsiteY4" fmla="*/ 2000048 h 2004185"/>
              <a:gd name="connsiteX0" fmla="*/ 0 w 5147620"/>
              <a:gd name="connsiteY0" fmla="*/ 2000048 h 2004185"/>
              <a:gd name="connsiteX1" fmla="*/ 842568 w 5147620"/>
              <a:gd name="connsiteY1" fmla="*/ 5976 h 2004185"/>
              <a:gd name="connsiteX2" fmla="*/ 5031501 w 5147620"/>
              <a:gd name="connsiteY2" fmla="*/ 0 h 2004185"/>
              <a:gd name="connsiteX3" fmla="*/ 5052073 w 5147620"/>
              <a:gd name="connsiteY3" fmla="*/ 2004185 h 2004185"/>
              <a:gd name="connsiteX4" fmla="*/ 0 w 5147620"/>
              <a:gd name="connsiteY4" fmla="*/ 2000048 h 2004185"/>
              <a:gd name="connsiteX0" fmla="*/ 0 w 5158413"/>
              <a:gd name="connsiteY0" fmla="*/ 1994072 h 1998209"/>
              <a:gd name="connsiteX1" fmla="*/ 842568 w 5158413"/>
              <a:gd name="connsiteY1" fmla="*/ 0 h 1998209"/>
              <a:gd name="connsiteX2" fmla="*/ 5073336 w 5158413"/>
              <a:gd name="connsiteY2" fmla="*/ 0 h 1998209"/>
              <a:gd name="connsiteX3" fmla="*/ 5052073 w 5158413"/>
              <a:gd name="connsiteY3" fmla="*/ 1998209 h 1998209"/>
              <a:gd name="connsiteX4" fmla="*/ 0 w 5158413"/>
              <a:gd name="connsiteY4" fmla="*/ 1994072 h 1998209"/>
              <a:gd name="connsiteX0" fmla="*/ 0 w 5073336"/>
              <a:gd name="connsiteY0" fmla="*/ 1994072 h 1998209"/>
              <a:gd name="connsiteX1" fmla="*/ 842568 w 5073336"/>
              <a:gd name="connsiteY1" fmla="*/ 0 h 1998209"/>
              <a:gd name="connsiteX2" fmla="*/ 5073336 w 5073336"/>
              <a:gd name="connsiteY2" fmla="*/ 0 h 1998209"/>
              <a:gd name="connsiteX3" fmla="*/ 5052073 w 5073336"/>
              <a:gd name="connsiteY3" fmla="*/ 1998209 h 1998209"/>
              <a:gd name="connsiteX4" fmla="*/ 0 w 5073336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55406"/>
              <a:gd name="connsiteY0" fmla="*/ 1994072 h 1998209"/>
              <a:gd name="connsiteX1" fmla="*/ 842568 w 5055406"/>
              <a:gd name="connsiteY1" fmla="*/ 0 h 1998209"/>
              <a:gd name="connsiteX2" fmla="*/ 5055406 w 5055406"/>
              <a:gd name="connsiteY2" fmla="*/ 5977 h 1998209"/>
              <a:gd name="connsiteX3" fmla="*/ 5052073 w 5055406"/>
              <a:gd name="connsiteY3" fmla="*/ 1998209 h 1998209"/>
              <a:gd name="connsiteX4" fmla="*/ 0 w 5055406"/>
              <a:gd name="connsiteY4" fmla="*/ 1994072 h 199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5406" h="1998209">
                <a:moveTo>
                  <a:pt x="0" y="1994072"/>
                </a:moveTo>
                <a:cubicBezTo>
                  <a:pt x="673157" y="387475"/>
                  <a:pt x="849349" y="536"/>
                  <a:pt x="842568" y="0"/>
                </a:cubicBezTo>
                <a:lnTo>
                  <a:pt x="5055406" y="5977"/>
                </a:lnTo>
                <a:cubicBezTo>
                  <a:pt x="5052916" y="565466"/>
                  <a:pt x="5058470" y="1448374"/>
                  <a:pt x="5052073" y="1998209"/>
                </a:cubicBezTo>
                <a:lnTo>
                  <a:pt x="0" y="199407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3434408" y="1998210"/>
            <a:ext cx="4105148" cy="161157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5148" h="1611578">
                <a:moveTo>
                  <a:pt x="0" y="1611578"/>
                </a:moveTo>
                <a:cubicBezTo>
                  <a:pt x="673157" y="4981"/>
                  <a:pt x="682008" y="536"/>
                  <a:pt x="675227" y="0"/>
                </a:cubicBezTo>
                <a:lnTo>
                  <a:pt x="4105148" y="0"/>
                </a:lnTo>
                <a:cubicBezTo>
                  <a:pt x="3881529" y="553512"/>
                  <a:pt x="3654000" y="1071857"/>
                  <a:pt x="3426473" y="1609739"/>
                </a:cubicBezTo>
                <a:lnTo>
                  <a:pt x="0" y="161157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68979" y="3650770"/>
            <a:ext cx="4071101" cy="153414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101" h="1534149">
                <a:moveTo>
                  <a:pt x="0" y="1534149"/>
                </a:moveTo>
                <a:cubicBezTo>
                  <a:pt x="673157" y="-72448"/>
                  <a:pt x="647961" y="928"/>
                  <a:pt x="641180" y="392"/>
                </a:cubicBezTo>
                <a:lnTo>
                  <a:pt x="4071101" y="392"/>
                </a:lnTo>
                <a:cubicBezTo>
                  <a:pt x="3847482" y="553904"/>
                  <a:pt x="3654000" y="994428"/>
                  <a:pt x="3426473" y="1532310"/>
                </a:cubicBezTo>
                <a:lnTo>
                  <a:pt x="0" y="1534149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252385" y="1998210"/>
            <a:ext cx="2904166" cy="3159758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166" h="3159758">
                <a:moveTo>
                  <a:pt x="0" y="3153318"/>
                </a:moveTo>
                <a:lnTo>
                  <a:pt x="1334576" y="0"/>
                </a:lnTo>
                <a:lnTo>
                  <a:pt x="2903350" y="1"/>
                </a:lnTo>
                <a:lnTo>
                  <a:pt x="2904166" y="3159758"/>
                </a:lnTo>
                <a:lnTo>
                  <a:pt x="0" y="31533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85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4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5541815" y="-6438"/>
            <a:ext cx="3618947" cy="5177284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3350"/>
              <a:gd name="connsiteY0" fmla="*/ 3153318 h 3155813"/>
              <a:gd name="connsiteX1" fmla="*/ 1334576 w 2903350"/>
              <a:gd name="connsiteY1" fmla="*/ 0 h 3155813"/>
              <a:gd name="connsiteX2" fmla="*/ 2903350 w 2903350"/>
              <a:gd name="connsiteY2" fmla="*/ 1 h 3155813"/>
              <a:gd name="connsiteX3" fmla="*/ 1440652 w 2903350"/>
              <a:gd name="connsiteY3" fmla="*/ 3155813 h 3155813"/>
              <a:gd name="connsiteX4" fmla="*/ 0 w 2903350"/>
              <a:gd name="connsiteY4" fmla="*/ 3153318 h 3155813"/>
              <a:gd name="connsiteX0" fmla="*/ 0 w 2903350"/>
              <a:gd name="connsiteY0" fmla="*/ 3153318 h 3167647"/>
              <a:gd name="connsiteX1" fmla="*/ 1334576 w 2903350"/>
              <a:gd name="connsiteY1" fmla="*/ 0 h 3167647"/>
              <a:gd name="connsiteX2" fmla="*/ 2903350 w 2903350"/>
              <a:gd name="connsiteY2" fmla="*/ 1 h 3167647"/>
              <a:gd name="connsiteX3" fmla="*/ 2205940 w 2903350"/>
              <a:gd name="connsiteY3" fmla="*/ 3167647 h 3167647"/>
              <a:gd name="connsiteX4" fmla="*/ 0 w 2903350"/>
              <a:gd name="connsiteY4" fmla="*/ 3153318 h 3167647"/>
              <a:gd name="connsiteX0" fmla="*/ 0 w 2903350"/>
              <a:gd name="connsiteY0" fmla="*/ 3153318 h 3159757"/>
              <a:gd name="connsiteX1" fmla="*/ 1334576 w 2903350"/>
              <a:gd name="connsiteY1" fmla="*/ 0 h 3159757"/>
              <a:gd name="connsiteX2" fmla="*/ 2903350 w 2903350"/>
              <a:gd name="connsiteY2" fmla="*/ 1 h 3159757"/>
              <a:gd name="connsiteX3" fmla="*/ 2205940 w 2903350"/>
              <a:gd name="connsiteY3" fmla="*/ 3159757 h 3159757"/>
              <a:gd name="connsiteX4" fmla="*/ 0 w 2903350"/>
              <a:gd name="connsiteY4" fmla="*/ 3153318 h 3159757"/>
              <a:gd name="connsiteX0" fmla="*/ 0 w 2512817"/>
              <a:gd name="connsiteY0" fmla="*/ 3153318 h 3159757"/>
              <a:gd name="connsiteX1" fmla="*/ 1334576 w 2512817"/>
              <a:gd name="connsiteY1" fmla="*/ 0 h 3159757"/>
              <a:gd name="connsiteX2" fmla="*/ 2512817 w 2512817"/>
              <a:gd name="connsiteY2" fmla="*/ 7890 h 3159757"/>
              <a:gd name="connsiteX3" fmla="*/ 2205940 w 2512817"/>
              <a:gd name="connsiteY3" fmla="*/ 3159757 h 3159757"/>
              <a:gd name="connsiteX4" fmla="*/ 0 w 2512817"/>
              <a:gd name="connsiteY4" fmla="*/ 3153318 h 3159757"/>
              <a:gd name="connsiteX0" fmla="*/ 0 w 2248517"/>
              <a:gd name="connsiteY0" fmla="*/ 3153318 h 3159757"/>
              <a:gd name="connsiteX1" fmla="*/ 1334576 w 2248517"/>
              <a:gd name="connsiteY1" fmla="*/ 0 h 3159757"/>
              <a:gd name="connsiteX2" fmla="*/ 2248517 w 2248517"/>
              <a:gd name="connsiteY2" fmla="*/ 7890 h 3159757"/>
              <a:gd name="connsiteX3" fmla="*/ 2205940 w 2248517"/>
              <a:gd name="connsiteY3" fmla="*/ 3159757 h 3159757"/>
              <a:gd name="connsiteX4" fmla="*/ 0 w 2248517"/>
              <a:gd name="connsiteY4" fmla="*/ 3153318 h 3159757"/>
              <a:gd name="connsiteX0" fmla="*/ 0 w 2240627"/>
              <a:gd name="connsiteY0" fmla="*/ 3165152 h 3171591"/>
              <a:gd name="connsiteX1" fmla="*/ 1334576 w 2240627"/>
              <a:gd name="connsiteY1" fmla="*/ 11834 h 3171591"/>
              <a:gd name="connsiteX2" fmla="*/ 2240627 w 2240627"/>
              <a:gd name="connsiteY2" fmla="*/ 0 h 3171591"/>
              <a:gd name="connsiteX3" fmla="*/ 2205940 w 2240627"/>
              <a:gd name="connsiteY3" fmla="*/ 3171591 h 3171591"/>
              <a:gd name="connsiteX4" fmla="*/ 0 w 2240627"/>
              <a:gd name="connsiteY4" fmla="*/ 3165152 h 3171591"/>
              <a:gd name="connsiteX0" fmla="*/ 0 w 2236682"/>
              <a:gd name="connsiteY0" fmla="*/ 3153318 h 3159757"/>
              <a:gd name="connsiteX1" fmla="*/ 1334576 w 2236682"/>
              <a:gd name="connsiteY1" fmla="*/ 0 h 3159757"/>
              <a:gd name="connsiteX2" fmla="*/ 2236682 w 2236682"/>
              <a:gd name="connsiteY2" fmla="*/ 0 h 3159757"/>
              <a:gd name="connsiteX3" fmla="*/ 2205940 w 2236682"/>
              <a:gd name="connsiteY3" fmla="*/ 3159757 h 3159757"/>
              <a:gd name="connsiteX4" fmla="*/ 0 w 2236682"/>
              <a:gd name="connsiteY4" fmla="*/ 3153318 h 3159757"/>
              <a:gd name="connsiteX0" fmla="*/ 0 w 2209069"/>
              <a:gd name="connsiteY0" fmla="*/ 3153318 h 3159757"/>
              <a:gd name="connsiteX1" fmla="*/ 1334576 w 2209069"/>
              <a:gd name="connsiteY1" fmla="*/ 0 h 3159757"/>
              <a:gd name="connsiteX2" fmla="*/ 2209069 w 2209069"/>
              <a:gd name="connsiteY2" fmla="*/ 0 h 3159757"/>
              <a:gd name="connsiteX3" fmla="*/ 2205940 w 2209069"/>
              <a:gd name="connsiteY3" fmla="*/ 3159757 h 3159757"/>
              <a:gd name="connsiteX4" fmla="*/ 0 w 2209069"/>
              <a:gd name="connsiteY4" fmla="*/ 3153318 h 3159757"/>
              <a:gd name="connsiteX0" fmla="*/ 0 w 2209069"/>
              <a:gd name="connsiteY0" fmla="*/ 3153318 h 3163702"/>
              <a:gd name="connsiteX1" fmla="*/ 1334576 w 2209069"/>
              <a:gd name="connsiteY1" fmla="*/ 0 h 3163702"/>
              <a:gd name="connsiteX2" fmla="*/ 2209069 w 2209069"/>
              <a:gd name="connsiteY2" fmla="*/ 0 h 3163702"/>
              <a:gd name="connsiteX3" fmla="*/ 2142823 w 2209069"/>
              <a:gd name="connsiteY3" fmla="*/ 3163702 h 3163702"/>
              <a:gd name="connsiteX4" fmla="*/ 0 w 2209069"/>
              <a:gd name="connsiteY4" fmla="*/ 3153318 h 3163702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209069 w 2209885"/>
              <a:gd name="connsiteY2" fmla="*/ 0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169621 w 2209885"/>
              <a:gd name="connsiteY2" fmla="*/ 3945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16958"/>
              <a:gd name="connsiteY0" fmla="*/ 3157262 h 3171591"/>
              <a:gd name="connsiteX1" fmla="*/ 1334576 w 2216958"/>
              <a:gd name="connsiteY1" fmla="*/ 3944 h 3171591"/>
              <a:gd name="connsiteX2" fmla="*/ 2216958 w 2216958"/>
              <a:gd name="connsiteY2" fmla="*/ 0 h 3171591"/>
              <a:gd name="connsiteX3" fmla="*/ 2209885 w 2216958"/>
              <a:gd name="connsiteY3" fmla="*/ 3171591 h 3171591"/>
              <a:gd name="connsiteX4" fmla="*/ 0 w 2216958"/>
              <a:gd name="connsiteY4" fmla="*/ 3157262 h 317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958" h="3171591">
                <a:moveTo>
                  <a:pt x="0" y="3157262"/>
                </a:moveTo>
                <a:lnTo>
                  <a:pt x="1334576" y="3944"/>
                </a:lnTo>
                <a:lnTo>
                  <a:pt x="2216958" y="0"/>
                </a:lnTo>
                <a:cubicBezTo>
                  <a:pt x="2214600" y="1057197"/>
                  <a:pt x="2212243" y="2114394"/>
                  <a:pt x="2209885" y="3171591"/>
                </a:cubicBezTo>
                <a:lnTo>
                  <a:pt x="0" y="315726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136543" y="-15134"/>
            <a:ext cx="3553896" cy="1970477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3098" h="1615889">
                <a:moveTo>
                  <a:pt x="0" y="1613317"/>
                </a:moveTo>
                <a:lnTo>
                  <a:pt x="1092467" y="6150"/>
                </a:lnTo>
                <a:lnTo>
                  <a:pt x="4753098" y="0"/>
                </a:lnTo>
                <a:cubicBezTo>
                  <a:pt x="4364023" y="562334"/>
                  <a:pt x="4071243" y="1007433"/>
                  <a:pt x="3627900" y="1615889"/>
                </a:cubicBezTo>
                <a:lnTo>
                  <a:pt x="0" y="161331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74973" y="1996355"/>
            <a:ext cx="4054965" cy="319013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965" h="1542319">
                <a:moveTo>
                  <a:pt x="0" y="1533756"/>
                </a:moveTo>
                <a:lnTo>
                  <a:pt x="1340428" y="0"/>
                </a:lnTo>
                <a:lnTo>
                  <a:pt x="4054965" y="2600"/>
                </a:lnTo>
                <a:cubicBezTo>
                  <a:pt x="3578541" y="540509"/>
                  <a:pt x="3325892" y="848409"/>
                  <a:pt x="2705711" y="1542319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5597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5866" y="1420813"/>
            <a:ext cx="8057775" cy="3178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Untertitel</a:t>
            </a:r>
            <a:endParaRPr lang="en-GB" noProof="0" dirty="0"/>
          </a:p>
          <a:p>
            <a:pPr lvl="1"/>
            <a:r>
              <a:rPr lang="en-GB" noProof="0" dirty="0"/>
              <a:t>2.</a:t>
            </a:r>
          </a:p>
          <a:p>
            <a:pPr lvl="2"/>
            <a:r>
              <a:rPr lang="en-GB" noProof="0" dirty="0"/>
              <a:t>3.</a:t>
            </a:r>
          </a:p>
          <a:p>
            <a:pPr lvl="3"/>
            <a:r>
              <a:rPr lang="en-GB" noProof="0" dirty="0"/>
              <a:t>4.</a:t>
            </a:r>
          </a:p>
          <a:p>
            <a:pPr lvl="4"/>
            <a:r>
              <a:rPr lang="en-GB" noProof="0" dirty="0"/>
              <a:t>5.</a:t>
            </a:r>
          </a:p>
        </p:txBody>
      </p:sp>
      <p:sp>
        <p:nvSpPr>
          <p:cNvPr id="8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8419363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36000" bIns="36000" rtlCol="0" anchor="b" anchorCtr="0"/>
          <a:lstStyle>
            <a:lvl1pPr algn="ctr">
              <a:lnSpc>
                <a:spcPts val="1800"/>
              </a:lnSpc>
              <a:defRPr sz="1000">
                <a:solidFill>
                  <a:schemeClr val="bg2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F46576E-74F6-450E-989E-40015FDF479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00B3E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hf hdr="0" ftr="0" dt="0"/>
  <p:txStyles>
    <p:titleStyle>
      <a:lvl1pPr algn="l" defTabSz="685983" rtl="0" eaLnBrk="1" latinLnBrk="0" hangingPunct="1">
        <a:lnSpc>
          <a:spcPts val="39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lvl1pPr>
    </p:titleStyle>
    <p:bodyStyle>
      <a:lvl1pPr marL="0" indent="0" algn="l" defTabSz="685983" rtl="0" eaLnBrk="1" latinLnBrk="0" hangingPunct="1">
        <a:lnSpc>
          <a:spcPts val="2000"/>
        </a:lnSpc>
        <a:spcBef>
          <a:spcPts val="750"/>
        </a:spcBef>
        <a:spcAft>
          <a:spcPts val="85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  <a:lvl2pPr marL="0" indent="0" algn="l" defTabSz="685983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2pPr>
      <a:lvl3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3pPr>
      <a:lvl4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4pPr>
      <a:lvl5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5pPr>
      <a:lvl6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 regular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1">
          <p15:clr>
            <a:srgbClr val="F26B43"/>
          </p15:clr>
        </p15:guide>
        <p15:guide id="2" orient="horz" pos="2897">
          <p15:clr>
            <a:srgbClr val="F26B43"/>
          </p15:clr>
        </p15:guide>
        <p15:guide id="3" pos="5421">
          <p15:clr>
            <a:srgbClr val="F26B43"/>
          </p15:clr>
        </p15:guide>
        <p15:guide id="4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060018F8-5BA3-2547-9078-BE757BE0275C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1" b="12501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0AC8D1B-02BC-40C1-8C91-F45897FD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3911096"/>
            <a:ext cx="7211696" cy="6940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err="1">
                <a:solidFill>
                  <a:schemeClr val="lt1"/>
                </a:solidFill>
              </a:rPr>
              <a:t>Water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saving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and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leakage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Protection</a:t>
            </a:r>
            <a:r>
              <a:rPr lang="de-CH" sz="2400" dirty="0">
                <a:solidFill>
                  <a:schemeClr val="lt1"/>
                </a:solidFill>
              </a:rPr>
              <a:t> System</a:t>
            </a:r>
            <a:br>
              <a:rPr lang="de-CH" sz="2400" dirty="0">
                <a:solidFill>
                  <a:schemeClr val="lt1"/>
                </a:solidFill>
              </a:rPr>
            </a:br>
            <a:r>
              <a:rPr lang="de-CH" sz="1000" dirty="0">
                <a:solidFill>
                  <a:schemeClr val="lt1"/>
                </a:solidFill>
              </a:rPr>
              <a:t>Semesterproject Group02 - HS2020</a:t>
            </a:r>
            <a:br>
              <a:rPr lang="de-CH" sz="1000" dirty="0">
                <a:solidFill>
                  <a:schemeClr val="lt1"/>
                </a:solidFill>
              </a:rPr>
            </a:br>
            <a:r>
              <a:rPr lang="de-CH" sz="1000" dirty="0" err="1">
                <a:solidFill>
                  <a:schemeClr val="lt1"/>
                </a:solidFill>
              </a:rPr>
              <a:t>Bosshard</a:t>
            </a:r>
            <a:r>
              <a:rPr lang="de-CH" sz="1000" dirty="0">
                <a:solidFill>
                  <a:schemeClr val="lt1"/>
                </a:solidFill>
              </a:rPr>
              <a:t> Nico, </a:t>
            </a:r>
            <a:r>
              <a:rPr lang="de-CH" sz="1000" dirty="0" err="1">
                <a:solidFill>
                  <a:schemeClr val="lt1"/>
                </a:solidFill>
              </a:rPr>
              <a:t>calovic</a:t>
            </a:r>
            <a:r>
              <a:rPr lang="de-CH" sz="1000" dirty="0">
                <a:solidFill>
                  <a:schemeClr val="lt1"/>
                </a:solidFill>
              </a:rPr>
              <a:t> Alexandar, </a:t>
            </a:r>
            <a:r>
              <a:rPr lang="de-CH" sz="1000" dirty="0" err="1">
                <a:solidFill>
                  <a:schemeClr val="lt1"/>
                </a:solidFill>
              </a:rPr>
              <a:t>Kozlov</a:t>
            </a:r>
            <a:r>
              <a:rPr lang="de-CH" sz="1000" dirty="0">
                <a:solidFill>
                  <a:schemeClr val="lt1"/>
                </a:solidFill>
              </a:rPr>
              <a:t> Victor, </a:t>
            </a:r>
            <a:r>
              <a:rPr lang="de-CH" sz="1000" dirty="0" err="1">
                <a:solidFill>
                  <a:schemeClr val="lt1"/>
                </a:solidFill>
              </a:rPr>
              <a:t>Stofer</a:t>
            </a:r>
            <a:r>
              <a:rPr lang="de-CH" sz="1000" dirty="0">
                <a:solidFill>
                  <a:schemeClr val="lt1"/>
                </a:solidFill>
              </a:rPr>
              <a:t> Stephan</a:t>
            </a:r>
            <a:endParaRPr lang="de-CH" sz="2400" dirty="0">
              <a:solidFill>
                <a:schemeClr val="l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775485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31623E-3887-4641-BFA2-23E27942F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90880E-AA3A-0D4C-844A-13394ADEA0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3FF006-CD16-F148-A4A8-7AEF056AA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Implemented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ends email if threshold is exc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blabl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0C7BB0-732C-5B4C-9C0C-8A679DC2E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Backend Server</a:t>
            </a:r>
          </a:p>
        </p:txBody>
      </p:sp>
    </p:spTree>
    <p:extLst>
      <p:ext uri="{BB962C8B-B14F-4D97-AF65-F5344CB8AC3E}">
        <p14:creationId xmlns:p14="http://schemas.microsoft.com/office/powerpoint/2010/main" val="1916244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5F98D6-6107-CB4C-B76F-D2F098616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270E32-D3B2-9E4D-AC1F-37827FA317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86A87D-21E5-2D4A-B421-3D62B6BAF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hows latest logged meas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</a:t>
            </a:r>
            <a:r>
              <a:rPr lang="en-CH" dirty="0"/>
              <a:t>mplemented in angula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032442-57F9-0349-980B-7C792B97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377564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FF313E-047F-5048-B7F0-CABB6C43D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Techstack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6BC38D-4EA6-A84F-8478-3EAC51B2DF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F0EA26-CE11-D643-B780-217E580779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LANGU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</a:t>
            </a:r>
            <a:r>
              <a:rPr lang="en-CH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ypescrip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97D142-7AEC-3F4B-93D0-8B6E053641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H" dirty="0"/>
              <a:t>FRAME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</a:t>
            </a:r>
            <a:r>
              <a:rPr lang="en-CH" dirty="0"/>
              <a:t>spressi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Angula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B348E2D-2A87-6643-9C8F-9303D57C6C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H" dirty="0"/>
              <a:t>HARD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ESP3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Raspberry Pi ze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iezo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Voltage pulse circuits</a:t>
            </a:r>
          </a:p>
        </p:txBody>
      </p:sp>
    </p:spTree>
    <p:extLst>
      <p:ext uri="{BB962C8B-B14F-4D97-AF65-F5344CB8AC3E}">
        <p14:creationId xmlns:p14="http://schemas.microsoft.com/office/powerpoint/2010/main" val="729453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E6E60-B1E7-FB4E-AF40-5F086E62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/>
          <a:p>
            <a:r>
              <a:rPr lang="en-GB" dirty="0"/>
              <a:t>Ques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25F9D-7E5F-DB4A-9D90-07C6924B2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505A9-BBFB-014C-B32C-39A8D15BE0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  <a:p>
            <a:pPr lvl="1"/>
            <a:r>
              <a:rPr lang="en-GB" dirty="0"/>
              <a:t>Group02, HS2020</a:t>
            </a:r>
          </a:p>
        </p:txBody>
      </p:sp>
    </p:spTree>
    <p:extLst>
      <p:ext uri="{BB962C8B-B14F-4D97-AF65-F5344CB8AC3E}">
        <p14:creationId xmlns:p14="http://schemas.microsoft.com/office/powerpoint/2010/main" val="1104460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10E5EDF-A42A-E141-B039-523CE273D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Agend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56F50E-AB26-0A43-BF5D-7484BB7B31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AE2C40-F034-A548-A980-F06D6149F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Intro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B7E72FF-D618-8A49-805A-8810A1BA8C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H" dirty="0"/>
              <a:t>Project Organis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573004-56CC-9648-9A08-667727948E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H" dirty="0"/>
              <a:t>Integrated Circuit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03AE47C-5250-9A4D-8420-024063E758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H" dirty="0"/>
              <a:t>ESP3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20CBC0-CF88-F043-88A6-CFE5AF6E71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CH" dirty="0"/>
              <a:t>Raspberry Pi</a:t>
            </a:r>
          </a:p>
        </p:txBody>
      </p:sp>
    </p:spTree>
    <p:extLst>
      <p:ext uri="{BB962C8B-B14F-4D97-AF65-F5344CB8AC3E}">
        <p14:creationId xmlns:p14="http://schemas.microsoft.com/office/powerpoint/2010/main" val="11413757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1E6B88-9E28-B342-96E5-7C335569B8F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DEEA3F-5B53-3441-A1BE-2A23A992E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Int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1DA87D-48D0-A04E-96FA-49566E21B5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A94F8E-1014-054B-A10F-B688F8CCFC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CH" dirty="0"/>
              <a:t>ome Intro</a:t>
            </a:r>
          </a:p>
        </p:txBody>
      </p:sp>
    </p:spTree>
    <p:extLst>
      <p:ext uri="{BB962C8B-B14F-4D97-AF65-F5344CB8AC3E}">
        <p14:creationId xmlns:p14="http://schemas.microsoft.com/office/powerpoint/2010/main" val="3982081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451B28-5211-914C-BE4B-7A97AC1BF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015AF73-2CBF-504C-A3F9-A2A915E36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8FFA1C8C-C21B-7545-8F75-1B2DEBBBFF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</a:t>
            </a:r>
            <a:r>
              <a:rPr lang="en-CH"/>
              <a:t>efined structure and ro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5E79EE-E057-2A44-BEF3-A2F9B5644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Orga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614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E88E6AC8-FCCE-E942-809F-E0249528DD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06" r="2680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en-CH" dirty="0"/>
              <a:t>Integrated Circuits</a:t>
            </a:r>
          </a:p>
        </p:txBody>
      </p:sp>
    </p:spTree>
    <p:extLst>
      <p:ext uri="{BB962C8B-B14F-4D97-AF65-F5344CB8AC3E}">
        <p14:creationId xmlns:p14="http://schemas.microsoft.com/office/powerpoint/2010/main" val="4129074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B6AB55-EE21-C543-80FB-B13A90D9D3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12204E3-6E8D-FF43-9C8E-1C96B1DE0E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T</a:t>
            </a:r>
            <a:r>
              <a:rPr lang="en-CH" dirty="0"/>
              <a:t>ext fo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5EAAD62-FC1D-654B-ABAE-92BF600B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Integrated Circuits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220AF709-2231-4048-9CDE-899E1F717AA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1" b="970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57877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F21ABAF-C465-5748-9B23-B18BB1AAFFA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6" r="1007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ressif ESP32</a:t>
            </a:r>
          </a:p>
        </p:txBody>
      </p:sp>
    </p:spTree>
    <p:extLst>
      <p:ext uri="{BB962C8B-B14F-4D97-AF65-F5344CB8AC3E}">
        <p14:creationId xmlns:p14="http://schemas.microsoft.com/office/powerpoint/2010/main" val="3584613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F2724E-5507-264F-B1C7-8FD6FD14EE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8</a:t>
            </a:fld>
            <a:endParaRPr lang="de-CH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6BC1D9D-C949-C943-8C65-04932B6B00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" r="23971"/>
          <a:stretch/>
        </p:blipFill>
        <p:spPr>
          <a:xfrm>
            <a:off x="-4762" y="0"/>
            <a:ext cx="4302000" cy="514508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738085-E8CA-AA45-8842-D8E6EC881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nsists of 3 Basis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ADC Reader measure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WiFi connector establish connection to an Access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CP-Client transmits data through TCP Socke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226FFE-0BC3-FA41-B583-E73D6A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Application</a:t>
            </a:r>
          </a:p>
        </p:txBody>
      </p:sp>
    </p:spTree>
    <p:extLst>
      <p:ext uri="{BB962C8B-B14F-4D97-AF65-F5344CB8AC3E}">
        <p14:creationId xmlns:p14="http://schemas.microsoft.com/office/powerpoint/2010/main" val="3216498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EBC4ED-6EFC-C74C-9CD4-140350AB3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28FEE-2D90-8B4D-A1FC-A0B591B99A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WiFi</a:t>
            </a:r>
            <a:r>
              <a:rPr lang="en-GB" dirty="0"/>
              <a:t> Set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rver Addres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84AAAB-026C-464C-846F-EA22E4B8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Config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5BDDCCC-5BFF-D243-B542-FFE8D3F0C1C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" r="58104"/>
          <a:stretch/>
        </p:blipFill>
        <p:spPr>
          <a:xfrm>
            <a:off x="-4762" y="0"/>
            <a:ext cx="4303712" cy="5145088"/>
          </a:xfrm>
        </p:spPr>
      </p:pic>
    </p:spTree>
    <p:extLst>
      <p:ext uri="{BB962C8B-B14F-4D97-AF65-F5344CB8AC3E}">
        <p14:creationId xmlns:p14="http://schemas.microsoft.com/office/powerpoint/2010/main" val="2175117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41"/>
  <p:tag name="MIO_FALLBACK_LAYOUT" val="30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45d2b2b7-f2e0-45bc-8c6e-5674165245fb"/>
  <p:tag name="MIO_UPDATE" val="True"/>
  <p:tag name="MIO_VERSION" val="07.12.2017 16:11:08"/>
  <p:tag name="MIO_DBID" val="8F684677-3FC0-4CE4-9ED5-BB3254268BEA"/>
  <p:tag name="MIO_LASTDOWNLOADED" val="20.12.2017 13:17:17"/>
  <p:tag name="MIO_OBJECTNAME" val="toxicFM"/>
  <p:tag name="MIO_CDID" val="76e4a38e-0c0f-4477-9637-fbe3155b0d2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b41f7e-fefe-46d3-afee-ff507f5a5e1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Office">
  <a:themeElements>
    <a:clrScheme name="ToxicFM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53535"/>
      </a:accent1>
      <a:accent2>
        <a:srgbClr val="575757"/>
      </a:accent2>
      <a:accent3>
        <a:srgbClr val="878787"/>
      </a:accent3>
      <a:accent4>
        <a:srgbClr val="B3B3B3"/>
      </a:accent4>
      <a:accent5>
        <a:srgbClr val="DADADA"/>
      </a:accent5>
      <a:accent6>
        <a:srgbClr val="ECECEC"/>
      </a:accent6>
      <a:hlink>
        <a:srgbClr val="B3B3B3"/>
      </a:hlink>
      <a:folHlink>
        <a:srgbClr val="B3B3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runge-Muster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67000"/>
                <a:shade val="65000"/>
              </a:schemeClr>
              <a:schemeClr val="phClr">
                <a:tint val="10000"/>
                <a:satMod val="130000"/>
              </a:schemeClr>
            </a:duotone>
          </a:blip>
          <a:tile tx="0" ty="0" sx="60000" sy="59000" flip="none" algn="b"/>
        </a:blipFill>
        <a:blipFill rotWithShape="1">
          <a:blip xmlns:r="http://schemas.openxmlformats.org/officeDocument/2006/relationships" r:embed="rId1">
            <a:duotone>
              <a:schemeClr val="phClr">
                <a:shade val="30000"/>
                <a:satMod val="115000"/>
              </a:schemeClr>
              <a:schemeClr val="phClr">
                <a:tint val="34000"/>
              </a:schemeClr>
            </a:duotone>
          </a:blip>
          <a:tile tx="0" ty="0" sx="60000" sy="59000" flip="none" algn="b"/>
        </a:blipFill>
      </a:fillStyleLst>
      <a:lnStyleLst>
        <a:ln w="6350" cap="flat" cmpd="sng" algn="ctr">
          <a:solidFill>
            <a:schemeClr val="phClr">
              <a:tint val="7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DBB00"/>
        </a:solidFill>
        <a:ln w="0"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Lato" panose="020F0502020204030203" pitchFamily="34" charset="0"/>
            <a:ea typeface="Lato regular" panose="020F0502020204030203" pitchFamily="34" charset="0"/>
            <a:cs typeface="Lato regular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01DF8C97-E589-4334-B240-2EB022EF93A2}" vid="{143BF51E-D7A1-42A6-A6BF-EEEF0E0E9C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11</TotalTime>
  <Words>150</Words>
  <Application>Microsoft Macintosh PowerPoint</Application>
  <PresentationFormat>Custom</PresentationFormat>
  <Paragraphs>61</Paragraphs>
  <Slides>1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Lato</vt:lpstr>
      <vt:lpstr>Lato Black</vt:lpstr>
      <vt:lpstr>Lato Bold</vt:lpstr>
      <vt:lpstr>Lato Light</vt:lpstr>
      <vt:lpstr>Lato regular</vt:lpstr>
      <vt:lpstr>1_Office</vt:lpstr>
      <vt:lpstr>Water saving and leakage Protection System Semesterproject Group02 - HS2020 Bosshard Nico, calovic Alexandar, Kozlov Victor, Stofer Stephan</vt:lpstr>
      <vt:lpstr>Agenda</vt:lpstr>
      <vt:lpstr>Intro</vt:lpstr>
      <vt:lpstr>Project Organisation</vt:lpstr>
      <vt:lpstr>Integrated Circuits</vt:lpstr>
      <vt:lpstr>Integrated Circuits</vt:lpstr>
      <vt:lpstr>Espressif ESP32</vt:lpstr>
      <vt:lpstr>ESP32 Application</vt:lpstr>
      <vt:lpstr>ESP32 Config</vt:lpstr>
      <vt:lpstr>Backend Server</vt:lpstr>
      <vt:lpstr>Frontend</vt:lpstr>
      <vt:lpstr>Techstack</vt:lpstr>
      <vt:lpstr>Questions</vt:lpstr>
    </vt:vector>
  </TitlesOfParts>
  <Company>NZZ Medien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fer Stephan</dc:creator>
  <cp:lastModifiedBy>Stofer Stephan HSLU I</cp:lastModifiedBy>
  <cp:revision>144</cp:revision>
  <cp:lastPrinted>2018-01-08T23:57:59Z</cp:lastPrinted>
  <dcterms:created xsi:type="dcterms:W3CDTF">2017-12-20T12:16:39Z</dcterms:created>
  <dcterms:modified xsi:type="dcterms:W3CDTF">2021-01-06T13:47:57Z</dcterms:modified>
</cp:coreProperties>
</file>